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31.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33.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35.xml" ContentType="application/vnd.openxmlformats-officedocument.presentationml.tags+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36.xml" ContentType="application/vnd.openxmlformats-officedocument.presentationml.tags+xml"/>
  <Override PartName="/ppt/charts/chart8.xml" ContentType="application/vnd.openxmlformats-officedocument.drawingml.chart+xml"/>
  <Override PartName="/ppt/tags/tag37.xml" ContentType="application/vnd.openxmlformats-officedocument.presentationml.tags+xml"/>
  <Override PartName="/ppt/charts/chart9.xml" ContentType="application/vnd.openxmlformats-officedocument.drawingml.chart+xml"/>
  <Override PartName="/ppt/tags/tag38.xml" ContentType="application/vnd.openxmlformats-officedocument.presentationml.tags+xml"/>
  <Override PartName="/ppt/notesSlides/notesSlide6.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41.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42.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43.xml" ContentType="application/vnd.openxmlformats-officedocument.presentationml.tags+xml"/>
  <Override PartName="/ppt/charts/chart22.xml" ContentType="application/vnd.openxmlformats-officedocument.drawingml.chart+xml"/>
  <Override PartName="/ppt/charts/style7.xml" ContentType="application/vnd.ms-office.chartstyle+xml"/>
  <Override PartName="/ppt/charts/colors7.xml" ContentType="application/vnd.ms-office.chartcolorstyle+xml"/>
  <Override PartName="/ppt/tags/tag44.xml" ContentType="application/vnd.openxmlformats-officedocument.presentationml.tags+xml"/>
  <Override PartName="/ppt/charts/chart23.xml" ContentType="application/vnd.openxmlformats-officedocument.drawingml.chart+xml"/>
  <Override PartName="/ppt/charts/style8.xml" ContentType="application/vnd.ms-office.chartstyle+xml"/>
  <Override PartName="/ppt/charts/colors8.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2"/>
  </p:notesMasterIdLst>
  <p:sldIdLst>
    <p:sldId id="2147378824" r:id="rId5"/>
    <p:sldId id="2147475134" r:id="rId6"/>
    <p:sldId id="2147475146" r:id="rId7"/>
    <p:sldId id="2147475147" r:id="rId8"/>
    <p:sldId id="2147477347" r:id="rId9"/>
    <p:sldId id="2147477346" r:id="rId10"/>
    <p:sldId id="2147472910" r:id="rId11"/>
    <p:sldId id="2147475118" r:id="rId12"/>
    <p:sldId id="2147473876" r:id="rId13"/>
    <p:sldId id="2147475133" r:id="rId14"/>
    <p:sldId id="2147477358" r:id="rId15"/>
    <p:sldId id="2147477359" r:id="rId16"/>
    <p:sldId id="2147477360" r:id="rId17"/>
    <p:sldId id="2147477361" r:id="rId18"/>
    <p:sldId id="2147477362" r:id="rId19"/>
    <p:sldId id="2147477363" r:id="rId20"/>
    <p:sldId id="2147477364" r:id="rId2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2" d="100"/>
          <a:sy n="122" d="100"/>
        </p:scale>
        <p:origin x="326" y="43"/>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phie  ZIMMERMANN" userId="a3ccab47-c860-43ce-9c7d-ef7907b0df29" providerId="ADAL" clId="{4314325D-4433-4527-A5B8-00254240609C}"/>
    <pc:docChg chg="custSel modSld">
      <pc:chgData name="Sophie  ZIMMERMANN" userId="a3ccab47-c860-43ce-9c7d-ef7907b0df29" providerId="ADAL" clId="{4314325D-4433-4527-A5B8-00254240609C}" dt="2024-11-01T08:17:47.742" v="298" actId="1037"/>
      <pc:docMkLst>
        <pc:docMk/>
      </pc:docMkLst>
      <pc:sldChg chg="delSp modSp mod">
        <pc:chgData name="Sophie  ZIMMERMANN" userId="a3ccab47-c860-43ce-9c7d-ef7907b0df29" providerId="ADAL" clId="{4314325D-4433-4527-A5B8-00254240609C}" dt="2024-11-01T08:17:47.742" v="298" actId="1037"/>
        <pc:sldMkLst>
          <pc:docMk/>
          <pc:sldMk cId="435966349" sldId="2147475142"/>
        </pc:sldMkLst>
        <pc:spChg chg="mod">
          <ac:chgData name="Sophie  ZIMMERMANN" userId="a3ccab47-c860-43ce-9c7d-ef7907b0df29" providerId="ADAL" clId="{4314325D-4433-4527-A5B8-00254240609C}" dt="2024-11-01T08:17:47.742" v="298" actId="1037"/>
          <ac:spMkLst>
            <pc:docMk/>
            <pc:sldMk cId="435966349" sldId="2147475142"/>
            <ac:spMk id="7" creationId="{7DAAFD34-D311-196F-D318-B7CBB2FC55F1}"/>
          </ac:spMkLst>
        </pc:spChg>
        <pc:spChg chg="mod">
          <ac:chgData name="Sophie  ZIMMERMANN" userId="a3ccab47-c860-43ce-9c7d-ef7907b0df29" providerId="ADAL" clId="{4314325D-4433-4527-A5B8-00254240609C}" dt="2024-11-01T08:09:44.237" v="264" actId="3064"/>
          <ac:spMkLst>
            <pc:docMk/>
            <pc:sldMk cId="435966349" sldId="2147475142"/>
            <ac:spMk id="11" creationId="{BFC1BC53-B2B2-88E8-FF22-46D4B5DF9712}"/>
          </ac:spMkLst>
        </pc:spChg>
        <pc:spChg chg="del">
          <ac:chgData name="Sophie  ZIMMERMANN" userId="a3ccab47-c860-43ce-9c7d-ef7907b0df29" providerId="ADAL" clId="{4314325D-4433-4527-A5B8-00254240609C}" dt="2024-11-01T08:06:30.393" v="36" actId="478"/>
          <ac:spMkLst>
            <pc:docMk/>
            <pc:sldMk cId="435966349" sldId="2147475142"/>
            <ac:spMk id="13" creationId="{5BF3929D-D92C-F9A2-4B40-D265B6BB67FB}"/>
          </ac:spMkLst>
        </pc:spChg>
        <pc:graphicFrameChg chg="mod">
          <ac:chgData name="Sophie  ZIMMERMANN" userId="a3ccab47-c860-43ce-9c7d-ef7907b0df29" providerId="ADAL" clId="{4314325D-4433-4527-A5B8-00254240609C}" dt="2024-11-01T08:08:59.352" v="211" actId="1038"/>
          <ac:graphicFrameMkLst>
            <pc:docMk/>
            <pc:sldMk cId="435966349" sldId="2147475142"/>
            <ac:graphicFrameMk id="3" creationId="{1DC37342-75B7-517B-0FBA-CC602F84C1AA}"/>
          </ac:graphicFrameMkLst>
        </pc:graphicFrameChg>
        <pc:graphicFrameChg chg="mod">
          <ac:chgData name="Sophie  ZIMMERMANN" userId="a3ccab47-c860-43ce-9c7d-ef7907b0df29" providerId="ADAL" clId="{4314325D-4433-4527-A5B8-00254240609C}" dt="2024-11-01T08:06:27.261" v="35" actId="207"/>
          <ac:graphicFrameMkLst>
            <pc:docMk/>
            <pc:sldMk cId="435966349" sldId="2147475142"/>
            <ac:graphicFrameMk id="6" creationId="{4BD8E265-B158-1A09-6C46-4182AF3CD473}"/>
          </ac:graphicFrameMkLst>
        </pc:graphicFrameChg>
      </pc:sldChg>
      <pc:sldChg chg="addSp delSp modSp mod">
        <pc:chgData name="Sophie  ZIMMERMANN" userId="a3ccab47-c860-43ce-9c7d-ef7907b0df29" providerId="ADAL" clId="{4314325D-4433-4527-A5B8-00254240609C}" dt="2024-11-01T08:09:34.754" v="261" actId="3064"/>
        <pc:sldMkLst>
          <pc:docMk/>
          <pc:sldMk cId="388833020" sldId="2147477354"/>
        </pc:sldMkLst>
        <pc:spChg chg="add mod">
          <ac:chgData name="Sophie  ZIMMERMANN" userId="a3ccab47-c860-43ce-9c7d-ef7907b0df29" providerId="ADAL" clId="{4314325D-4433-4527-A5B8-00254240609C}" dt="2024-11-01T08:09:34.754" v="261" actId="3064"/>
          <ac:spMkLst>
            <pc:docMk/>
            <pc:sldMk cId="388833020" sldId="2147477354"/>
            <ac:spMk id="6" creationId="{3FE029EB-0726-DE25-4BB2-E63DB2FC61E7}"/>
          </ac:spMkLst>
        </pc:spChg>
        <pc:spChg chg="mod">
          <ac:chgData name="Sophie  ZIMMERMANN" userId="a3ccab47-c860-43ce-9c7d-ef7907b0df29" providerId="ADAL" clId="{4314325D-4433-4527-A5B8-00254240609C}" dt="2024-11-01T08:03:17.874" v="32" actId="1038"/>
          <ac:spMkLst>
            <pc:docMk/>
            <pc:sldMk cId="388833020" sldId="2147477354"/>
            <ac:spMk id="10" creationId="{2F21E4D4-BECB-5A87-4711-14032D7492F3}"/>
          </ac:spMkLst>
        </pc:spChg>
        <pc:spChg chg="mod">
          <ac:chgData name="Sophie  ZIMMERMANN" userId="a3ccab47-c860-43ce-9c7d-ef7907b0df29" providerId="ADAL" clId="{4314325D-4433-4527-A5B8-00254240609C}" dt="2024-11-01T08:03:15.788" v="30" actId="1038"/>
          <ac:spMkLst>
            <pc:docMk/>
            <pc:sldMk cId="388833020" sldId="2147477354"/>
            <ac:spMk id="11" creationId="{29596734-6143-084A-A989-D15ABEC33874}"/>
          </ac:spMkLst>
        </pc:spChg>
        <pc:spChg chg="mod">
          <ac:chgData name="Sophie  ZIMMERMANN" userId="a3ccab47-c860-43ce-9c7d-ef7907b0df29" providerId="ADAL" clId="{4314325D-4433-4527-A5B8-00254240609C}" dt="2024-11-01T08:02:52.740" v="1" actId="20577"/>
          <ac:spMkLst>
            <pc:docMk/>
            <pc:sldMk cId="388833020" sldId="2147477354"/>
            <ac:spMk id="12" creationId="{6E8C0A4F-20D1-C9BE-33B2-1536980F5F2B}"/>
          </ac:spMkLst>
        </pc:spChg>
        <pc:spChg chg="del">
          <ac:chgData name="Sophie  ZIMMERMANN" userId="a3ccab47-c860-43ce-9c7d-ef7907b0df29" providerId="ADAL" clId="{4314325D-4433-4527-A5B8-00254240609C}" dt="2024-11-01T08:07:25.977" v="60" actId="478"/>
          <ac:spMkLst>
            <pc:docMk/>
            <pc:sldMk cId="388833020" sldId="2147477354"/>
            <ac:spMk id="13" creationId="{57F3CE99-2D24-4C4A-2381-79818FEE40AF}"/>
          </ac:spMkLst>
        </pc:spChg>
        <pc:graphicFrameChg chg="mod">
          <ac:chgData name="Sophie  ZIMMERMANN" userId="a3ccab47-c860-43ce-9c7d-ef7907b0df29" providerId="ADAL" clId="{4314325D-4433-4527-A5B8-00254240609C}" dt="2024-11-01T08:09:04.221" v="229" actId="1038"/>
          <ac:graphicFrameMkLst>
            <pc:docMk/>
            <pc:sldMk cId="388833020" sldId="2147477354"/>
            <ac:graphicFrameMk id="3" creationId="{470EE70F-4EB3-F5FC-7DA9-A5FD61BBAF43}"/>
          </ac:graphicFrameMkLst>
        </pc:graphicFrameChg>
        <pc:graphicFrameChg chg="mod">
          <ac:chgData name="Sophie  ZIMMERMANN" userId="a3ccab47-c860-43ce-9c7d-ef7907b0df29" providerId="ADAL" clId="{4314325D-4433-4527-A5B8-00254240609C}" dt="2024-11-01T08:08:37.368" v="136" actId="1037"/>
          <ac:graphicFrameMkLst>
            <pc:docMk/>
            <pc:sldMk cId="388833020" sldId="2147477354"/>
            <ac:graphicFrameMk id="14" creationId="{EB84C0ED-1820-DC7F-C3F8-BA9338BED815}"/>
          </ac:graphicFrameMkLst>
        </pc:graphicFrameChg>
      </pc:sldChg>
    </pc:docChg>
  </pc:docChgLst>
  <pc:docChgLst>
    <pc:chgData name="Neriman EL HADIDI" userId="4b24840c-84b3-44ac-9131-ca3568cb403b" providerId="ADAL" clId="{49AFDB74-6FD9-4071-ADAD-4F61DD009A87}"/>
    <pc:docChg chg="delMainMaster">
      <pc:chgData name="Neriman EL HADIDI" userId="4b24840c-84b3-44ac-9131-ca3568cb403b" providerId="ADAL" clId="{49AFDB74-6FD9-4071-ADAD-4F61DD009A87}" dt="2024-11-01T08:58:09.464" v="1" actId="2696"/>
      <pc:docMkLst>
        <pc:docMk/>
      </pc:docMkLst>
      <pc:sldMasterChg chg="del">
        <pc:chgData name="Neriman EL HADIDI" userId="4b24840c-84b3-44ac-9131-ca3568cb403b" providerId="ADAL" clId="{49AFDB74-6FD9-4071-ADAD-4F61DD009A87}" dt="2024-11-01T08:57:51.102" v="0" actId="2696"/>
        <pc:sldMasterMkLst>
          <pc:docMk/>
          <pc:sldMasterMk cId="823099819" sldId="2147483792"/>
        </pc:sldMasterMkLst>
      </pc:sldMasterChg>
      <pc:sldMasterChg chg="del">
        <pc:chgData name="Neriman EL HADIDI" userId="4b24840c-84b3-44ac-9131-ca3568cb403b" providerId="ADAL" clId="{49AFDB74-6FD9-4071-ADAD-4F61DD009A87}" dt="2024-11-01T08:58:09.464" v="1" actId="2696"/>
        <pc:sldMasterMkLst>
          <pc:docMk/>
          <pc:sldMasterMk cId="2459112471" sldId="2147483842"/>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7.xml"/><Relationship Id="rId1" Type="http://schemas.microsoft.com/office/2011/relationships/chartStyle" Target="style7.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8.xml"/><Relationship Id="rId1" Type="http://schemas.microsoft.com/office/2011/relationships/chartStyle" Target="style8.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5BCE56-FBF7-4A05-87C6-2CFE5E65EB6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E21E27-E8B7-453C-B731-1699FF6BFC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962ED6-394D-4389-BFFD-16182DFCDF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547E66-B3B5-4795-91A0-5E9D6426011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69327A-EE4D-4E99-8EEF-06DD76367A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92FA5A2-8FE5-4BE9-BE63-9820F25B0B1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A97E2D-ACD5-4C44-A20D-F900861BF2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6E0EE4A-C752-423E-9B9A-274917EE7A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05060A-46EF-448E-8457-8AE27149B4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0A8D6E-6EE3-468F-9B34-3F9695D484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CA5282-0EBE-4D8D-8DF1-9FF608491B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E29D7B-9F63-48CD-B98E-8082AA97BDE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D8CA30-57E7-41DA-B11B-574EB679C9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29B6B8-029E-4E97-B507-5D588B0BBFB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65F807-2789-4C2C-BC89-CEC07786E42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2750189-BA51-42E6-B3C6-BF5877CFB5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123D06-C93C-4BB7-8BCD-88676E376E2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974098-9E19-485F-94A5-7AB9ECD925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ED9BA7-42F0-4947-AD7C-3D23A27451D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0D29CF-75E0-48FC-84A7-96340107B55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8ED040E-CA1D-4507-B915-9D931C1BF8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80005C3-439B-4C4C-B84C-EB56E29F829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4E73999-124C-48BD-A0CF-62D5748904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3152F5-5799-46C7-BF9B-0D4D6939F6A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12F75C9-FF72-4372-A785-82F8BE1723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983201E-F587-4AD5-AF00-E18CCBC4F2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5D06248-4705-4A6B-A982-2E30C87A26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6B46D0A-FA97-4D73-B273-14021B2F08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5DDDE9E-2D02-4975-999F-D9CF11C0AD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79961A8-7A26-4F09-80C4-EBF4B905E7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7702400-9A18-4FE2-BE48-BDEB5FCAC8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2745AA0-3B0A-4226-A7CC-15CA2F97F82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EFEAF9-386F-49B7-9152-B314A47AD7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186D71-7682-48AE-9216-748600B1FCE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4A1B17-EF38-4111-B7BF-12EB8F49F9B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850410F-EA1F-47CB-ABDA-C58F09EB907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0C6F7F-C880-42A0-A103-5F37229C28E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578861-B5C1-4E03-9BBE-4B5D56D820F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75E86D7-CA8E-4A86-BA24-FC889863DB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8580746-45EA-40FA-AB42-DAEC1302F3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89F5BC7-967D-4C38-A9C9-A4F22CB3F1C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C432AA6-DE12-40B5-9549-EFA8EF52D8F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E4CC3B2-BA10-4C9B-AED8-12F244AE34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547461D1-67C3-4913-933C-F05C306718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6360451-C560-4A33-B3FF-B8088D504C1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938E874D-52A0-4944-8A87-626A9642FFB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DDE71AB-2BDC-4818-8656-97D1355290E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B946AC81-6BCC-48F0-BF7D-66E86C8BE03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F69FE93-1BA9-4182-8689-8851249D819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7852779-9246-43DB-97F6-3C616239B95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56E3EDF3-F537-411A-A211-60CBD4156CA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125FF0A5-049F-4F21-A6E4-5699CC9C936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50D6BB3-A04A-4291-8689-D1B2B4E8878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D4578E03-1623-4E44-A5CF-C995C693897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09CFC379-73D8-40E7-A879-834D96E8EE4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2817FEAC-7FF5-481B-8577-34B893F48F7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0F7FD3-E985-49A7-ADDC-1EFA60FB62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D8A16B-190F-468B-BD40-E9A75C514E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D260DF-3F12-4AAE-89EF-EAB662E7163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E2AE86-7399-43FF-B242-8E5E2A871C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DAD3E6D-977E-4DFB-9ADF-2526A357EE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0CD88FD-FC85-4DA3-8AA7-86D5850F44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673F6BB-C040-4C46-8F5C-58EF5E13499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073D46E-9CAE-41B0-ABAC-4BFD3789E54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3835FAD-251C-4263-8945-DD28111D077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52C4479-2102-44A2-92E2-4154188E42B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86E9265-F1AD-4E08-99B7-A54EB73AAD1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A467F55-9B21-4AFF-B3AA-AF1A429834F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2D02F19B-7339-41CC-AEB8-762542F0AF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FFB1A37-B1AD-4121-973C-356C1E1E86D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A424A79-18F1-4E3B-B88D-1D043ADD7F0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A1D73F5-F57E-4BCC-BE48-AE67AAF09C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3B8A8D1-6132-4016-8246-ADA095D63AB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D217B48E-1136-4FB5-B9AA-F92D6F1B7D8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298E785-2B24-47DA-9632-001312B519F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CAA739B-C191-473B-B051-7C14811F14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E1F5BEBE-193C-4890-A56A-16660476BA5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0C873DEE-439D-4A09-B8E9-FE85E1F2E91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8E9B96C8-3FA3-4771-AE9F-712B480F5F5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7701FFB9-A8C3-4154-8B2D-5B5DC91B36A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79C45C8D-95EE-4BD6-A3A8-DE4234AF8F3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69162DE9-099D-4FB2-B420-764DAB8C004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8C77BAEC-A47E-4E6D-93E4-76DA745CD3F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ABC95285-5B8D-436F-BE40-2A0364843B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BBAA745A-A955-458A-8547-6D1FAE24A86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56E2BA00-1E96-4364-B350-8ADA6777683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BFE3E94C-820A-4ED5-982B-FFB694A00C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BA0FB2D6-BDCA-4964-880C-A2CF7A9BB58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2/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2/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2/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2/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2/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31.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oleObject" Target="../embeddings/oleObject27.bin"/><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2.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3.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4.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7.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8.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92355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75611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76850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154290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4421973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714550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2/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474365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2/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8084828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79222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98720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048637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2/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37165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93238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73124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514206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2/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291237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13835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1793</Words>
  <Application>Microsoft Office PowerPoint</Application>
  <PresentationFormat>On-screen Show (16:9)</PresentationFormat>
  <Paragraphs>656</Paragraphs>
  <Slides>17</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7"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Sector/Segment Leadership Table (Replace with SO WHAT)</vt:lpstr>
      <vt:lpstr>Segment Leadership Analysis (Replace with So What)</vt:lpstr>
      <vt:lpstr>Sectors Leadership Analysis (Replace with So What)</vt:lpstr>
      <vt:lpstr>Avg Price/Vol Comparison (Replace with SO WHAT)</vt:lpstr>
      <vt:lpstr>Shelf Price/Vol Comparison (Replace with SO WHAT)</vt:lpstr>
      <vt:lpstr>Price Point Distribution Analysis by product (Replace with SO WHAT)</vt:lpstr>
      <vt:lpstr>Price Point Comparison Analysis by Product (Replace with SO WHAT)</vt:lpstr>
      <vt:lpstr>Price Point Distribution Analysis by brand (Replace with SO WHAT)</vt:lpstr>
      <vt:lpstr>Price Point Distribution by brand by Sector (Replace with SO WHAT)</vt:lpstr>
      <vt:lpstr>Price Correlation Analysis P3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int Distribution Analysis by product (Replace with SO WHAT)</vt:lpstr>
      <vt:lpstr>Price Point Comparison Analysis by Produc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54</cp:revision>
  <dcterms:created xsi:type="dcterms:W3CDTF">2024-07-05T14:56:51Z</dcterms:created>
  <dcterms:modified xsi:type="dcterms:W3CDTF">2025-09-02T07:2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